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60" r:id="rId2"/>
    <p:sldId id="259" r:id="rId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A44"/>
    <a:srgbClr val="43B02A"/>
    <a:srgbClr val="86BC2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>
        <p:scale>
          <a:sx n="91" d="100"/>
          <a:sy n="91" d="100"/>
        </p:scale>
        <p:origin x="-2280" y="5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slide" Target="slides/slide2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2" y="1628781"/>
            <a:ext cx="1116234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0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dirty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26720" y="661126"/>
            <a:ext cx="11340000" cy="27989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6542" y="327026"/>
            <a:ext cx="11340000" cy="303187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4360513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2119" y="159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7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1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cxnSp>
        <p:nvCxnSpPr>
          <p:cNvPr id="9" name="Shape 68"/>
          <p:cNvCxnSpPr/>
          <p:nvPr userDrawn="1"/>
        </p:nvCxnSpPr>
        <p:spPr>
          <a:xfrm>
            <a:off x="426000" y="6475709"/>
            <a:ext cx="11340000" cy="0"/>
          </a:xfrm>
          <a:prstGeom prst="straightConnector1">
            <a:avLst/>
          </a:prstGeom>
          <a:noFill/>
          <a:ln w="12700" cap="flat" cmpd="sng">
            <a:solidFill>
              <a:srgbClr val="53565A"/>
            </a:solidFill>
            <a:prstDash val="solid"/>
            <a:round/>
            <a:headEnd type="none" w="lg" len="lg"/>
            <a:tailEnd type="none" w="lg" len="lg"/>
          </a:ln>
        </p:spPr>
      </p:cxn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65" t="24297" r="8992" b="20741"/>
          <a:stretch/>
        </p:blipFill>
        <p:spPr>
          <a:xfrm>
            <a:off x="10625287" y="6509735"/>
            <a:ext cx="1140713" cy="310040"/>
          </a:xfrm>
          <a:prstGeom prst="rect">
            <a:avLst/>
          </a:prstGeom>
        </p:spPr>
      </p:pic>
      <p:sp>
        <p:nvSpPr>
          <p:cNvPr id="11" name="Rectangle 2"/>
          <p:cNvSpPr>
            <a:spLocks/>
          </p:cNvSpPr>
          <p:nvPr userDrawn="1"/>
        </p:nvSpPr>
        <p:spPr bwMode="auto">
          <a:xfrm>
            <a:off x="426000" y="6603200"/>
            <a:ext cx="156613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8DF478-B544-4ED8-9ED4-6A2648E2D233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  <a:sym typeface="Frutiger Next Pro Light" charset="0"/>
              </a:rPr>
              <a:t> |  Deloitte Consulting | Cloud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 flipV="1">
            <a:off x="426000" y="940281"/>
            <a:ext cx="11340000" cy="25879"/>
          </a:xfrm>
          <a:prstGeom prst="line">
            <a:avLst/>
          </a:prstGeom>
          <a:ln w="28575">
            <a:solidFill>
              <a:srgbClr val="86BC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/>
          <p:cNvSpPr/>
          <p:nvPr userDrawn="1"/>
        </p:nvSpPr>
        <p:spPr>
          <a:xfrm>
            <a:off x="5353809" y="6527336"/>
            <a:ext cx="1484382" cy="2718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1200" cap="none" spc="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t>Deloitte &amp; Inside Sherpa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0" i="0" u="none" strike="noStrike" kern="1200" cap="none" spc="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t>TS&amp;A Cloud – Digital Internship</a:t>
            </a:r>
          </a:p>
        </p:txBody>
      </p:sp>
    </p:spTree>
    <p:extLst>
      <p:ext uri="{BB962C8B-B14F-4D97-AF65-F5344CB8AC3E}">
        <p14:creationId xmlns:p14="http://schemas.microsoft.com/office/powerpoint/2010/main" val="3434592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</p:sldLayoutIdLst>
  <p:transition>
    <p:fade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10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7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0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5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32800" indent="-1764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112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4020">
          <p15:clr>
            <a:srgbClr val="F26B43"/>
          </p15:clr>
        </p15:guide>
        <p15:guide id="4" pos="316">
          <p15:clr>
            <a:srgbClr val="F26B43"/>
          </p15:clr>
        </p15:guide>
        <p15:guide id="5" pos="736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00">
          <p15:clr>
            <a:srgbClr val="F26B43"/>
          </p15:clr>
        </p15:guide>
        <p15:guide id="8" orient="horz" pos="4080">
          <p15:clr>
            <a:srgbClr val="F26B43"/>
          </p15:clr>
        </p15:guide>
        <p15:guide id="10" pos="4961">
          <p15:clr>
            <a:srgbClr val="F26B43"/>
          </p15:clr>
        </p15:guide>
        <p15:guide id="11" orient="horz" pos="236">
          <p15:clr>
            <a:srgbClr val="F26B43"/>
          </p15:clr>
        </p15:guide>
        <p15:guide id="12" pos="1363">
          <p15:clr>
            <a:srgbClr val="F26B43"/>
          </p15:clr>
        </p15:guide>
        <p15:guide id="13" pos="1516">
          <p15:clr>
            <a:srgbClr val="F26B43"/>
          </p15:clr>
        </p15:guide>
        <p15:guide id="14" pos="2560">
          <p15:clr>
            <a:srgbClr val="F26B43"/>
          </p15:clr>
        </p15:guide>
        <p15:guide id="15" pos="2711">
          <p15:clr>
            <a:srgbClr val="F26B43"/>
          </p15:clr>
        </p15:guide>
        <p15:guide id="16" pos="6160">
          <p15:clr>
            <a:srgbClr val="F26B43"/>
          </p15:clr>
        </p15:guide>
        <p15:guide id="17" pos="3764">
          <p15:clr>
            <a:srgbClr val="F26B43"/>
          </p15:clr>
        </p15:guide>
        <p15:guide id="18" pos="3916">
          <p15:clr>
            <a:srgbClr val="F26B43"/>
          </p15:clr>
        </p15:guide>
        <p15:guide id="19" pos="3840">
          <p15:clr>
            <a:srgbClr val="F26B43"/>
          </p15:clr>
        </p15:guide>
        <p15:guide id="20" pos="6312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AU" dirty="0"/>
              <a:t>Highlighted below are they key factors that determine whether an application is suitable for Cloud or not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26542" y="327026"/>
            <a:ext cx="11340000" cy="303187"/>
          </a:xfrm>
        </p:spPr>
        <p:txBody>
          <a:bodyPr/>
          <a:lstStyle/>
          <a:p>
            <a:r>
              <a:rPr lang="en-AU" dirty="0"/>
              <a:t>Cloud Readiness Assessment – </a:t>
            </a:r>
            <a:r>
              <a:rPr lang="en-AU" dirty="0">
                <a:solidFill>
                  <a:srgbClr val="86BC25"/>
                </a:solidFill>
              </a:rPr>
              <a:t>Cloud Accelerators and Inhibitors</a:t>
            </a:r>
          </a:p>
        </p:txBody>
      </p:sp>
      <p:sp>
        <p:nvSpPr>
          <p:cNvPr id="23" name="Rectangle 22"/>
          <p:cNvSpPr/>
          <p:nvPr/>
        </p:nvSpPr>
        <p:spPr bwMode="gray">
          <a:xfrm>
            <a:off x="421952" y="5970965"/>
            <a:ext cx="5400000" cy="288000"/>
          </a:xfrm>
          <a:prstGeom prst="rect">
            <a:avLst/>
          </a:prstGeom>
          <a:solidFill>
            <a:srgbClr val="86BC2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Cloud Suitable</a:t>
            </a:r>
          </a:p>
        </p:txBody>
      </p:sp>
      <p:sp>
        <p:nvSpPr>
          <p:cNvPr id="24" name="Rectangle 23"/>
          <p:cNvSpPr/>
          <p:nvPr/>
        </p:nvSpPr>
        <p:spPr bwMode="gray">
          <a:xfrm>
            <a:off x="6363865" y="5970965"/>
            <a:ext cx="5400000" cy="288000"/>
          </a:xfrm>
          <a:prstGeom prst="rect">
            <a:avLst/>
          </a:prstGeom>
          <a:solidFill>
            <a:srgbClr val="F2130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Less Cloud Suitable</a:t>
            </a:r>
          </a:p>
        </p:txBody>
      </p:sp>
      <p:cxnSp>
        <p:nvCxnSpPr>
          <p:cNvPr id="25" name="Straight Arrow Connector 24"/>
          <p:cNvCxnSpPr>
            <a:stCxn id="23" idx="0"/>
            <a:endCxn id="26" idx="2"/>
          </p:cNvCxnSpPr>
          <p:nvPr/>
        </p:nvCxnSpPr>
        <p:spPr>
          <a:xfrm flipV="1">
            <a:off x="3121952" y="5779698"/>
            <a:ext cx="0" cy="191267"/>
          </a:xfrm>
          <a:prstGeom prst="straightConnector1">
            <a:avLst/>
          </a:prstGeom>
          <a:ln>
            <a:solidFill>
              <a:schemeClr val="tx2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Shape 84"/>
          <p:cNvSpPr/>
          <p:nvPr/>
        </p:nvSpPr>
        <p:spPr>
          <a:xfrm>
            <a:off x="421952" y="1061855"/>
            <a:ext cx="5400000" cy="4717843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 w="12700" cap="flat" cmpd="sng">
            <a:solidFill>
              <a:srgbClr val="BFBFBF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91425" tIns="45700" rIns="91425" bIns="4570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1" i="0" u="none" strike="noStrike" kern="0" cap="none" spc="0" normalizeH="0" baseline="0" noProof="0" dirty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Calibri"/>
              </a:rPr>
              <a:t>Accelerator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Calibri"/>
              </a:rPr>
              <a:t>Highlighted below are factors that would signify that workloads are Cloud suitable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 Light" panose="020B0502040204020203" pitchFamily="34" charset="0"/>
              <a:ea typeface="Open Sans" panose="020B0606030504020204" pitchFamily="34" charset="0"/>
              <a:cs typeface="Segoe UI Light" panose="020B0502040204020203" pitchFamily="34" charset="0"/>
              <a:sym typeface="Calibri"/>
            </a:endParaRPr>
          </a:p>
        </p:txBody>
      </p:sp>
      <p:grpSp>
        <p:nvGrpSpPr>
          <p:cNvPr id="10" name="Group 9"/>
          <p:cNvGrpSpPr/>
          <p:nvPr/>
        </p:nvGrpSpPr>
        <p:grpSpPr>
          <a:xfrm>
            <a:off x="486136" y="1604712"/>
            <a:ext cx="5333907" cy="369332"/>
            <a:chOff x="486136" y="2864160"/>
            <a:chExt cx="5333907" cy="369332"/>
          </a:xfrm>
        </p:grpSpPr>
        <p:sp>
          <p:nvSpPr>
            <p:cNvPr id="28" name="Rectangle 27"/>
            <p:cNvSpPr/>
            <p:nvPr/>
          </p:nvSpPr>
          <p:spPr>
            <a:xfrm>
              <a:off x="879716" y="2864160"/>
              <a:ext cx="4940327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AU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Dev/Test Environments </a:t>
              </a:r>
              <a:r>
                <a:rPr kumimoji="0" lang="en-AU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– Sandbox environments can be easily scaled up or torn down on demand in the Cloud and are prime candidates for migration. </a:t>
              </a:r>
            </a:p>
          </p:txBody>
        </p:sp>
        <p:sp>
          <p:nvSpPr>
            <p:cNvPr id="29" name="Freeform 97"/>
            <p:cNvSpPr>
              <a:spLocks noChangeAspect="1" noEditPoints="1"/>
            </p:cNvSpPr>
            <p:nvPr/>
          </p:nvSpPr>
          <p:spPr bwMode="auto">
            <a:xfrm>
              <a:off x="486136" y="2864316"/>
              <a:ext cx="369021" cy="369021"/>
            </a:xfrm>
            <a:custGeom>
              <a:avLst/>
              <a:gdLst>
                <a:gd name="T0" fmla="*/ 298 w 512"/>
                <a:gd name="T1" fmla="*/ 298 h 512"/>
                <a:gd name="T2" fmla="*/ 373 w 512"/>
                <a:gd name="T3" fmla="*/ 298 h 512"/>
                <a:gd name="T4" fmla="*/ 373 w 512"/>
                <a:gd name="T5" fmla="*/ 373 h 512"/>
                <a:gd name="T6" fmla="*/ 298 w 512"/>
                <a:gd name="T7" fmla="*/ 373 h 512"/>
                <a:gd name="T8" fmla="*/ 298 w 512"/>
                <a:gd name="T9" fmla="*/ 298 h 512"/>
                <a:gd name="T10" fmla="*/ 138 w 512"/>
                <a:gd name="T11" fmla="*/ 213 h 512"/>
                <a:gd name="T12" fmla="*/ 213 w 512"/>
                <a:gd name="T13" fmla="*/ 213 h 512"/>
                <a:gd name="T14" fmla="*/ 213 w 512"/>
                <a:gd name="T15" fmla="*/ 138 h 512"/>
                <a:gd name="T16" fmla="*/ 138 w 512"/>
                <a:gd name="T17" fmla="*/ 138 h 512"/>
                <a:gd name="T18" fmla="*/ 138 w 512"/>
                <a:gd name="T19" fmla="*/ 213 h 512"/>
                <a:gd name="T20" fmla="*/ 138 w 512"/>
                <a:gd name="T21" fmla="*/ 373 h 512"/>
                <a:gd name="T22" fmla="*/ 213 w 512"/>
                <a:gd name="T23" fmla="*/ 373 h 512"/>
                <a:gd name="T24" fmla="*/ 213 w 512"/>
                <a:gd name="T25" fmla="*/ 298 h 512"/>
                <a:gd name="T26" fmla="*/ 138 w 512"/>
                <a:gd name="T27" fmla="*/ 298 h 512"/>
                <a:gd name="T28" fmla="*/ 138 w 512"/>
                <a:gd name="T29" fmla="*/ 373 h 512"/>
                <a:gd name="T30" fmla="*/ 512 w 512"/>
                <a:gd name="T31" fmla="*/ 256 h 512"/>
                <a:gd name="T32" fmla="*/ 256 w 512"/>
                <a:gd name="T33" fmla="*/ 512 h 512"/>
                <a:gd name="T34" fmla="*/ 0 w 512"/>
                <a:gd name="T35" fmla="*/ 256 h 512"/>
                <a:gd name="T36" fmla="*/ 256 w 512"/>
                <a:gd name="T37" fmla="*/ 0 h 512"/>
                <a:gd name="T38" fmla="*/ 512 w 512"/>
                <a:gd name="T39" fmla="*/ 256 h 512"/>
                <a:gd name="T40" fmla="*/ 234 w 512"/>
                <a:gd name="T41" fmla="*/ 288 h 512"/>
                <a:gd name="T42" fmla="*/ 224 w 512"/>
                <a:gd name="T43" fmla="*/ 277 h 512"/>
                <a:gd name="T44" fmla="*/ 128 w 512"/>
                <a:gd name="T45" fmla="*/ 277 h 512"/>
                <a:gd name="T46" fmla="*/ 117 w 512"/>
                <a:gd name="T47" fmla="*/ 288 h 512"/>
                <a:gd name="T48" fmla="*/ 117 w 512"/>
                <a:gd name="T49" fmla="*/ 384 h 512"/>
                <a:gd name="T50" fmla="*/ 128 w 512"/>
                <a:gd name="T51" fmla="*/ 394 h 512"/>
                <a:gd name="T52" fmla="*/ 224 w 512"/>
                <a:gd name="T53" fmla="*/ 394 h 512"/>
                <a:gd name="T54" fmla="*/ 234 w 512"/>
                <a:gd name="T55" fmla="*/ 384 h 512"/>
                <a:gd name="T56" fmla="*/ 234 w 512"/>
                <a:gd name="T57" fmla="*/ 288 h 512"/>
                <a:gd name="T58" fmla="*/ 234 w 512"/>
                <a:gd name="T59" fmla="*/ 128 h 512"/>
                <a:gd name="T60" fmla="*/ 224 w 512"/>
                <a:gd name="T61" fmla="*/ 117 h 512"/>
                <a:gd name="T62" fmla="*/ 128 w 512"/>
                <a:gd name="T63" fmla="*/ 117 h 512"/>
                <a:gd name="T64" fmla="*/ 117 w 512"/>
                <a:gd name="T65" fmla="*/ 128 h 512"/>
                <a:gd name="T66" fmla="*/ 117 w 512"/>
                <a:gd name="T67" fmla="*/ 224 h 512"/>
                <a:gd name="T68" fmla="*/ 128 w 512"/>
                <a:gd name="T69" fmla="*/ 234 h 512"/>
                <a:gd name="T70" fmla="*/ 224 w 512"/>
                <a:gd name="T71" fmla="*/ 234 h 512"/>
                <a:gd name="T72" fmla="*/ 234 w 512"/>
                <a:gd name="T73" fmla="*/ 224 h 512"/>
                <a:gd name="T74" fmla="*/ 234 w 512"/>
                <a:gd name="T75" fmla="*/ 128 h 512"/>
                <a:gd name="T76" fmla="*/ 394 w 512"/>
                <a:gd name="T77" fmla="*/ 288 h 512"/>
                <a:gd name="T78" fmla="*/ 384 w 512"/>
                <a:gd name="T79" fmla="*/ 277 h 512"/>
                <a:gd name="T80" fmla="*/ 288 w 512"/>
                <a:gd name="T81" fmla="*/ 277 h 512"/>
                <a:gd name="T82" fmla="*/ 277 w 512"/>
                <a:gd name="T83" fmla="*/ 288 h 512"/>
                <a:gd name="T84" fmla="*/ 277 w 512"/>
                <a:gd name="T85" fmla="*/ 384 h 512"/>
                <a:gd name="T86" fmla="*/ 288 w 512"/>
                <a:gd name="T87" fmla="*/ 394 h 512"/>
                <a:gd name="T88" fmla="*/ 384 w 512"/>
                <a:gd name="T89" fmla="*/ 394 h 512"/>
                <a:gd name="T90" fmla="*/ 394 w 512"/>
                <a:gd name="T91" fmla="*/ 384 h 512"/>
                <a:gd name="T92" fmla="*/ 394 w 512"/>
                <a:gd name="T93" fmla="*/ 288 h 512"/>
                <a:gd name="T94" fmla="*/ 394 w 512"/>
                <a:gd name="T95" fmla="*/ 128 h 512"/>
                <a:gd name="T96" fmla="*/ 384 w 512"/>
                <a:gd name="T97" fmla="*/ 117 h 512"/>
                <a:gd name="T98" fmla="*/ 288 w 512"/>
                <a:gd name="T99" fmla="*/ 117 h 512"/>
                <a:gd name="T100" fmla="*/ 277 w 512"/>
                <a:gd name="T101" fmla="*/ 128 h 512"/>
                <a:gd name="T102" fmla="*/ 277 w 512"/>
                <a:gd name="T103" fmla="*/ 224 h 512"/>
                <a:gd name="T104" fmla="*/ 288 w 512"/>
                <a:gd name="T105" fmla="*/ 234 h 512"/>
                <a:gd name="T106" fmla="*/ 384 w 512"/>
                <a:gd name="T107" fmla="*/ 234 h 512"/>
                <a:gd name="T108" fmla="*/ 394 w 512"/>
                <a:gd name="T109" fmla="*/ 224 h 512"/>
                <a:gd name="T110" fmla="*/ 394 w 512"/>
                <a:gd name="T111" fmla="*/ 128 h 512"/>
                <a:gd name="T112" fmla="*/ 298 w 512"/>
                <a:gd name="T113" fmla="*/ 213 h 512"/>
                <a:gd name="T114" fmla="*/ 373 w 512"/>
                <a:gd name="T115" fmla="*/ 213 h 512"/>
                <a:gd name="T116" fmla="*/ 373 w 512"/>
                <a:gd name="T117" fmla="*/ 138 h 512"/>
                <a:gd name="T118" fmla="*/ 298 w 512"/>
                <a:gd name="T119" fmla="*/ 138 h 512"/>
                <a:gd name="T120" fmla="*/ 298 w 512"/>
                <a:gd name="T121" fmla="*/ 213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12" h="512">
                  <a:moveTo>
                    <a:pt x="298" y="298"/>
                  </a:moveTo>
                  <a:cubicBezTo>
                    <a:pt x="373" y="298"/>
                    <a:pt x="373" y="298"/>
                    <a:pt x="373" y="298"/>
                  </a:cubicBezTo>
                  <a:cubicBezTo>
                    <a:pt x="373" y="373"/>
                    <a:pt x="373" y="373"/>
                    <a:pt x="373" y="373"/>
                  </a:cubicBezTo>
                  <a:cubicBezTo>
                    <a:pt x="298" y="373"/>
                    <a:pt x="298" y="373"/>
                    <a:pt x="298" y="373"/>
                  </a:cubicBezTo>
                  <a:lnTo>
                    <a:pt x="298" y="298"/>
                  </a:lnTo>
                  <a:close/>
                  <a:moveTo>
                    <a:pt x="138" y="213"/>
                  </a:moveTo>
                  <a:cubicBezTo>
                    <a:pt x="213" y="213"/>
                    <a:pt x="213" y="213"/>
                    <a:pt x="213" y="213"/>
                  </a:cubicBezTo>
                  <a:cubicBezTo>
                    <a:pt x="213" y="138"/>
                    <a:pt x="213" y="138"/>
                    <a:pt x="213" y="138"/>
                  </a:cubicBezTo>
                  <a:cubicBezTo>
                    <a:pt x="138" y="138"/>
                    <a:pt x="138" y="138"/>
                    <a:pt x="138" y="138"/>
                  </a:cubicBezTo>
                  <a:lnTo>
                    <a:pt x="138" y="213"/>
                  </a:lnTo>
                  <a:close/>
                  <a:moveTo>
                    <a:pt x="138" y="373"/>
                  </a:moveTo>
                  <a:cubicBezTo>
                    <a:pt x="213" y="373"/>
                    <a:pt x="213" y="373"/>
                    <a:pt x="213" y="373"/>
                  </a:cubicBezTo>
                  <a:cubicBezTo>
                    <a:pt x="213" y="298"/>
                    <a:pt x="213" y="298"/>
                    <a:pt x="213" y="298"/>
                  </a:cubicBezTo>
                  <a:cubicBezTo>
                    <a:pt x="138" y="298"/>
                    <a:pt x="138" y="298"/>
                    <a:pt x="138" y="298"/>
                  </a:cubicBezTo>
                  <a:lnTo>
                    <a:pt x="138" y="373"/>
                  </a:ln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234" y="288"/>
                  </a:moveTo>
                  <a:cubicBezTo>
                    <a:pt x="234" y="282"/>
                    <a:pt x="230" y="277"/>
                    <a:pt x="224" y="277"/>
                  </a:cubicBezTo>
                  <a:cubicBezTo>
                    <a:pt x="128" y="277"/>
                    <a:pt x="128" y="277"/>
                    <a:pt x="128" y="277"/>
                  </a:cubicBezTo>
                  <a:cubicBezTo>
                    <a:pt x="122" y="277"/>
                    <a:pt x="117" y="282"/>
                    <a:pt x="117" y="288"/>
                  </a:cubicBezTo>
                  <a:cubicBezTo>
                    <a:pt x="117" y="384"/>
                    <a:pt x="117" y="384"/>
                    <a:pt x="117" y="384"/>
                  </a:cubicBezTo>
                  <a:cubicBezTo>
                    <a:pt x="117" y="390"/>
                    <a:pt x="122" y="394"/>
                    <a:pt x="128" y="394"/>
                  </a:cubicBezTo>
                  <a:cubicBezTo>
                    <a:pt x="224" y="394"/>
                    <a:pt x="224" y="394"/>
                    <a:pt x="224" y="394"/>
                  </a:cubicBezTo>
                  <a:cubicBezTo>
                    <a:pt x="230" y="394"/>
                    <a:pt x="234" y="390"/>
                    <a:pt x="234" y="384"/>
                  </a:cubicBezTo>
                  <a:lnTo>
                    <a:pt x="234" y="288"/>
                  </a:lnTo>
                  <a:close/>
                  <a:moveTo>
                    <a:pt x="234" y="128"/>
                  </a:moveTo>
                  <a:cubicBezTo>
                    <a:pt x="234" y="122"/>
                    <a:pt x="230" y="117"/>
                    <a:pt x="224" y="117"/>
                  </a:cubicBezTo>
                  <a:cubicBezTo>
                    <a:pt x="128" y="117"/>
                    <a:pt x="128" y="117"/>
                    <a:pt x="128" y="117"/>
                  </a:cubicBezTo>
                  <a:cubicBezTo>
                    <a:pt x="122" y="117"/>
                    <a:pt x="117" y="122"/>
                    <a:pt x="117" y="128"/>
                  </a:cubicBezTo>
                  <a:cubicBezTo>
                    <a:pt x="117" y="224"/>
                    <a:pt x="117" y="224"/>
                    <a:pt x="117" y="224"/>
                  </a:cubicBezTo>
                  <a:cubicBezTo>
                    <a:pt x="117" y="230"/>
                    <a:pt x="122" y="234"/>
                    <a:pt x="128" y="234"/>
                  </a:cubicBezTo>
                  <a:cubicBezTo>
                    <a:pt x="224" y="234"/>
                    <a:pt x="224" y="234"/>
                    <a:pt x="224" y="234"/>
                  </a:cubicBezTo>
                  <a:cubicBezTo>
                    <a:pt x="230" y="234"/>
                    <a:pt x="234" y="230"/>
                    <a:pt x="234" y="224"/>
                  </a:cubicBezTo>
                  <a:lnTo>
                    <a:pt x="234" y="128"/>
                  </a:lnTo>
                  <a:close/>
                  <a:moveTo>
                    <a:pt x="394" y="288"/>
                  </a:moveTo>
                  <a:cubicBezTo>
                    <a:pt x="394" y="282"/>
                    <a:pt x="390" y="277"/>
                    <a:pt x="384" y="277"/>
                  </a:cubicBezTo>
                  <a:cubicBezTo>
                    <a:pt x="288" y="277"/>
                    <a:pt x="288" y="277"/>
                    <a:pt x="288" y="277"/>
                  </a:cubicBezTo>
                  <a:cubicBezTo>
                    <a:pt x="282" y="277"/>
                    <a:pt x="277" y="282"/>
                    <a:pt x="277" y="288"/>
                  </a:cubicBezTo>
                  <a:cubicBezTo>
                    <a:pt x="277" y="384"/>
                    <a:pt x="277" y="384"/>
                    <a:pt x="277" y="384"/>
                  </a:cubicBezTo>
                  <a:cubicBezTo>
                    <a:pt x="277" y="390"/>
                    <a:pt x="282" y="394"/>
                    <a:pt x="288" y="394"/>
                  </a:cubicBezTo>
                  <a:cubicBezTo>
                    <a:pt x="384" y="394"/>
                    <a:pt x="384" y="394"/>
                    <a:pt x="384" y="394"/>
                  </a:cubicBezTo>
                  <a:cubicBezTo>
                    <a:pt x="390" y="394"/>
                    <a:pt x="394" y="390"/>
                    <a:pt x="394" y="384"/>
                  </a:cubicBezTo>
                  <a:lnTo>
                    <a:pt x="394" y="288"/>
                  </a:lnTo>
                  <a:close/>
                  <a:moveTo>
                    <a:pt x="394" y="128"/>
                  </a:moveTo>
                  <a:cubicBezTo>
                    <a:pt x="394" y="122"/>
                    <a:pt x="390" y="117"/>
                    <a:pt x="384" y="117"/>
                  </a:cubicBezTo>
                  <a:cubicBezTo>
                    <a:pt x="288" y="117"/>
                    <a:pt x="288" y="117"/>
                    <a:pt x="288" y="117"/>
                  </a:cubicBezTo>
                  <a:cubicBezTo>
                    <a:pt x="282" y="117"/>
                    <a:pt x="277" y="122"/>
                    <a:pt x="277" y="128"/>
                  </a:cubicBezTo>
                  <a:cubicBezTo>
                    <a:pt x="277" y="224"/>
                    <a:pt x="277" y="224"/>
                    <a:pt x="277" y="224"/>
                  </a:cubicBezTo>
                  <a:cubicBezTo>
                    <a:pt x="277" y="230"/>
                    <a:pt x="282" y="234"/>
                    <a:pt x="288" y="234"/>
                  </a:cubicBezTo>
                  <a:cubicBezTo>
                    <a:pt x="384" y="234"/>
                    <a:pt x="384" y="234"/>
                    <a:pt x="384" y="234"/>
                  </a:cubicBezTo>
                  <a:cubicBezTo>
                    <a:pt x="390" y="234"/>
                    <a:pt x="394" y="230"/>
                    <a:pt x="394" y="224"/>
                  </a:cubicBezTo>
                  <a:lnTo>
                    <a:pt x="394" y="128"/>
                  </a:lnTo>
                  <a:close/>
                  <a:moveTo>
                    <a:pt x="298" y="213"/>
                  </a:moveTo>
                  <a:cubicBezTo>
                    <a:pt x="373" y="213"/>
                    <a:pt x="373" y="213"/>
                    <a:pt x="373" y="213"/>
                  </a:cubicBezTo>
                  <a:cubicBezTo>
                    <a:pt x="373" y="138"/>
                    <a:pt x="373" y="138"/>
                    <a:pt x="373" y="138"/>
                  </a:cubicBezTo>
                  <a:cubicBezTo>
                    <a:pt x="298" y="138"/>
                    <a:pt x="298" y="138"/>
                    <a:pt x="298" y="138"/>
                  </a:cubicBezTo>
                  <a:lnTo>
                    <a:pt x="298" y="213"/>
                  </a:lnTo>
                  <a:close/>
                </a:path>
              </a:pathLst>
            </a:custGeom>
            <a:solidFill>
              <a:srgbClr val="86BC2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486586" y="2023889"/>
            <a:ext cx="5333471" cy="369332"/>
            <a:chOff x="486586" y="3343725"/>
            <a:chExt cx="5333471" cy="369332"/>
          </a:xfrm>
        </p:grpSpPr>
        <p:sp>
          <p:nvSpPr>
            <p:cNvPr id="53" name="Rectangle 52"/>
            <p:cNvSpPr/>
            <p:nvPr/>
          </p:nvSpPr>
          <p:spPr>
            <a:xfrm>
              <a:off x="879554" y="3343725"/>
              <a:ext cx="4940503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AU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nfrequently Accessed Storage Archives </a:t>
              </a:r>
              <a:r>
                <a:rPr kumimoji="0" lang="en-AU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– It can be more cost effective to host large storage volumes that do not require frequent or immediate access. </a:t>
              </a:r>
            </a:p>
          </p:txBody>
        </p:sp>
        <p:sp>
          <p:nvSpPr>
            <p:cNvPr id="54" name="Freeform 207"/>
            <p:cNvSpPr>
              <a:spLocks noChangeAspect="1" noEditPoints="1"/>
            </p:cNvSpPr>
            <p:nvPr/>
          </p:nvSpPr>
          <p:spPr bwMode="auto">
            <a:xfrm>
              <a:off x="486586" y="3344871"/>
              <a:ext cx="368121" cy="367041"/>
            </a:xfrm>
            <a:custGeom>
              <a:avLst/>
              <a:gdLst>
                <a:gd name="T0" fmla="*/ 149 w 512"/>
                <a:gd name="T1" fmla="*/ 266 h 512"/>
                <a:gd name="T2" fmla="*/ 142 w 512"/>
                <a:gd name="T3" fmla="*/ 267 h 512"/>
                <a:gd name="T4" fmla="*/ 178 w 512"/>
                <a:gd name="T5" fmla="*/ 160 h 512"/>
                <a:gd name="T6" fmla="*/ 333 w 512"/>
                <a:gd name="T7" fmla="*/ 160 h 512"/>
                <a:gd name="T8" fmla="*/ 369 w 512"/>
                <a:gd name="T9" fmla="*/ 267 h 512"/>
                <a:gd name="T10" fmla="*/ 362 w 512"/>
                <a:gd name="T11" fmla="*/ 266 h 512"/>
                <a:gd name="T12" fmla="*/ 149 w 512"/>
                <a:gd name="T13" fmla="*/ 266 h 512"/>
                <a:gd name="T14" fmla="*/ 373 w 512"/>
                <a:gd name="T15" fmla="*/ 299 h 512"/>
                <a:gd name="T16" fmla="*/ 373 w 512"/>
                <a:gd name="T17" fmla="*/ 341 h 512"/>
                <a:gd name="T18" fmla="*/ 362 w 512"/>
                <a:gd name="T19" fmla="*/ 352 h 512"/>
                <a:gd name="T20" fmla="*/ 149 w 512"/>
                <a:gd name="T21" fmla="*/ 352 h 512"/>
                <a:gd name="T22" fmla="*/ 138 w 512"/>
                <a:gd name="T23" fmla="*/ 341 h 512"/>
                <a:gd name="T24" fmla="*/ 138 w 512"/>
                <a:gd name="T25" fmla="*/ 299 h 512"/>
                <a:gd name="T26" fmla="*/ 149 w 512"/>
                <a:gd name="T27" fmla="*/ 288 h 512"/>
                <a:gd name="T28" fmla="*/ 362 w 512"/>
                <a:gd name="T29" fmla="*/ 288 h 512"/>
                <a:gd name="T30" fmla="*/ 373 w 512"/>
                <a:gd name="T31" fmla="*/ 299 h 512"/>
                <a:gd name="T32" fmla="*/ 309 w 512"/>
                <a:gd name="T33" fmla="*/ 320 h 512"/>
                <a:gd name="T34" fmla="*/ 298 w 512"/>
                <a:gd name="T35" fmla="*/ 309 h 512"/>
                <a:gd name="T36" fmla="*/ 288 w 512"/>
                <a:gd name="T37" fmla="*/ 320 h 512"/>
                <a:gd name="T38" fmla="*/ 298 w 512"/>
                <a:gd name="T39" fmla="*/ 330 h 512"/>
                <a:gd name="T40" fmla="*/ 309 w 512"/>
                <a:gd name="T41" fmla="*/ 320 h 512"/>
                <a:gd name="T42" fmla="*/ 352 w 512"/>
                <a:gd name="T43" fmla="*/ 320 h 512"/>
                <a:gd name="T44" fmla="*/ 341 w 512"/>
                <a:gd name="T45" fmla="*/ 309 h 512"/>
                <a:gd name="T46" fmla="*/ 330 w 512"/>
                <a:gd name="T47" fmla="*/ 320 h 512"/>
                <a:gd name="T48" fmla="*/ 341 w 512"/>
                <a:gd name="T49" fmla="*/ 330 h 512"/>
                <a:gd name="T50" fmla="*/ 352 w 512"/>
                <a:gd name="T51" fmla="*/ 320 h 512"/>
                <a:gd name="T52" fmla="*/ 512 w 512"/>
                <a:gd name="T53" fmla="*/ 256 h 512"/>
                <a:gd name="T54" fmla="*/ 256 w 512"/>
                <a:gd name="T55" fmla="*/ 512 h 512"/>
                <a:gd name="T56" fmla="*/ 0 w 512"/>
                <a:gd name="T57" fmla="*/ 256 h 512"/>
                <a:gd name="T58" fmla="*/ 256 w 512"/>
                <a:gd name="T59" fmla="*/ 0 h 512"/>
                <a:gd name="T60" fmla="*/ 512 w 512"/>
                <a:gd name="T61" fmla="*/ 256 h 512"/>
                <a:gd name="T62" fmla="*/ 394 w 512"/>
                <a:gd name="T63" fmla="*/ 277 h 512"/>
                <a:gd name="T64" fmla="*/ 394 w 512"/>
                <a:gd name="T65" fmla="*/ 274 h 512"/>
                <a:gd name="T66" fmla="*/ 351 w 512"/>
                <a:gd name="T67" fmla="*/ 146 h 512"/>
                <a:gd name="T68" fmla="*/ 351 w 512"/>
                <a:gd name="T69" fmla="*/ 145 h 512"/>
                <a:gd name="T70" fmla="*/ 341 w 512"/>
                <a:gd name="T71" fmla="*/ 138 h 512"/>
                <a:gd name="T72" fmla="*/ 170 w 512"/>
                <a:gd name="T73" fmla="*/ 138 h 512"/>
                <a:gd name="T74" fmla="*/ 160 w 512"/>
                <a:gd name="T75" fmla="*/ 145 h 512"/>
                <a:gd name="T76" fmla="*/ 160 w 512"/>
                <a:gd name="T77" fmla="*/ 146 h 512"/>
                <a:gd name="T78" fmla="*/ 118 w 512"/>
                <a:gd name="T79" fmla="*/ 274 h 512"/>
                <a:gd name="T80" fmla="*/ 117 w 512"/>
                <a:gd name="T81" fmla="*/ 277 h 512"/>
                <a:gd name="T82" fmla="*/ 117 w 512"/>
                <a:gd name="T83" fmla="*/ 298 h 512"/>
                <a:gd name="T84" fmla="*/ 117 w 512"/>
                <a:gd name="T85" fmla="*/ 298 h 512"/>
                <a:gd name="T86" fmla="*/ 117 w 512"/>
                <a:gd name="T87" fmla="*/ 299 h 512"/>
                <a:gd name="T88" fmla="*/ 117 w 512"/>
                <a:gd name="T89" fmla="*/ 341 h 512"/>
                <a:gd name="T90" fmla="*/ 149 w 512"/>
                <a:gd name="T91" fmla="*/ 373 h 512"/>
                <a:gd name="T92" fmla="*/ 362 w 512"/>
                <a:gd name="T93" fmla="*/ 373 h 512"/>
                <a:gd name="T94" fmla="*/ 394 w 512"/>
                <a:gd name="T95" fmla="*/ 341 h 512"/>
                <a:gd name="T96" fmla="*/ 394 w 512"/>
                <a:gd name="T97" fmla="*/ 299 h 512"/>
                <a:gd name="T98" fmla="*/ 394 w 512"/>
                <a:gd name="T99" fmla="*/ 298 h 512"/>
                <a:gd name="T100" fmla="*/ 394 w 512"/>
                <a:gd name="T101" fmla="*/ 298 h 512"/>
                <a:gd name="T102" fmla="*/ 394 w 512"/>
                <a:gd name="T103" fmla="*/ 277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12" h="512">
                  <a:moveTo>
                    <a:pt x="149" y="266"/>
                  </a:moveTo>
                  <a:cubicBezTo>
                    <a:pt x="147" y="266"/>
                    <a:pt x="144" y="267"/>
                    <a:pt x="142" y="267"/>
                  </a:cubicBezTo>
                  <a:cubicBezTo>
                    <a:pt x="178" y="160"/>
                    <a:pt x="178" y="160"/>
                    <a:pt x="178" y="160"/>
                  </a:cubicBezTo>
                  <a:cubicBezTo>
                    <a:pt x="333" y="160"/>
                    <a:pt x="333" y="160"/>
                    <a:pt x="333" y="160"/>
                  </a:cubicBezTo>
                  <a:cubicBezTo>
                    <a:pt x="369" y="267"/>
                    <a:pt x="369" y="267"/>
                    <a:pt x="369" y="267"/>
                  </a:cubicBezTo>
                  <a:cubicBezTo>
                    <a:pt x="367" y="267"/>
                    <a:pt x="365" y="266"/>
                    <a:pt x="362" y="266"/>
                  </a:cubicBezTo>
                  <a:lnTo>
                    <a:pt x="149" y="266"/>
                  </a:lnTo>
                  <a:close/>
                  <a:moveTo>
                    <a:pt x="373" y="299"/>
                  </a:moveTo>
                  <a:cubicBezTo>
                    <a:pt x="373" y="341"/>
                    <a:pt x="373" y="341"/>
                    <a:pt x="373" y="341"/>
                  </a:cubicBezTo>
                  <a:cubicBezTo>
                    <a:pt x="373" y="347"/>
                    <a:pt x="368" y="352"/>
                    <a:pt x="362" y="352"/>
                  </a:cubicBezTo>
                  <a:cubicBezTo>
                    <a:pt x="149" y="352"/>
                    <a:pt x="149" y="352"/>
                    <a:pt x="149" y="352"/>
                  </a:cubicBezTo>
                  <a:cubicBezTo>
                    <a:pt x="143" y="352"/>
                    <a:pt x="138" y="347"/>
                    <a:pt x="138" y="341"/>
                  </a:cubicBezTo>
                  <a:cubicBezTo>
                    <a:pt x="138" y="299"/>
                    <a:pt x="138" y="299"/>
                    <a:pt x="138" y="299"/>
                  </a:cubicBezTo>
                  <a:cubicBezTo>
                    <a:pt x="138" y="293"/>
                    <a:pt x="143" y="288"/>
                    <a:pt x="149" y="288"/>
                  </a:cubicBezTo>
                  <a:cubicBezTo>
                    <a:pt x="362" y="288"/>
                    <a:pt x="362" y="288"/>
                    <a:pt x="362" y="288"/>
                  </a:cubicBezTo>
                  <a:cubicBezTo>
                    <a:pt x="368" y="288"/>
                    <a:pt x="373" y="293"/>
                    <a:pt x="373" y="299"/>
                  </a:cubicBezTo>
                  <a:close/>
                  <a:moveTo>
                    <a:pt x="309" y="320"/>
                  </a:moveTo>
                  <a:cubicBezTo>
                    <a:pt x="309" y="314"/>
                    <a:pt x="304" y="309"/>
                    <a:pt x="298" y="309"/>
                  </a:cubicBezTo>
                  <a:cubicBezTo>
                    <a:pt x="292" y="309"/>
                    <a:pt x="288" y="314"/>
                    <a:pt x="288" y="320"/>
                  </a:cubicBezTo>
                  <a:cubicBezTo>
                    <a:pt x="288" y="326"/>
                    <a:pt x="292" y="330"/>
                    <a:pt x="298" y="330"/>
                  </a:cubicBezTo>
                  <a:cubicBezTo>
                    <a:pt x="304" y="330"/>
                    <a:pt x="309" y="326"/>
                    <a:pt x="309" y="320"/>
                  </a:cubicBezTo>
                  <a:close/>
                  <a:moveTo>
                    <a:pt x="352" y="320"/>
                  </a:moveTo>
                  <a:cubicBezTo>
                    <a:pt x="352" y="314"/>
                    <a:pt x="347" y="309"/>
                    <a:pt x="341" y="309"/>
                  </a:cubicBezTo>
                  <a:cubicBezTo>
                    <a:pt x="335" y="309"/>
                    <a:pt x="330" y="314"/>
                    <a:pt x="330" y="320"/>
                  </a:cubicBezTo>
                  <a:cubicBezTo>
                    <a:pt x="330" y="326"/>
                    <a:pt x="335" y="330"/>
                    <a:pt x="341" y="330"/>
                  </a:cubicBezTo>
                  <a:cubicBezTo>
                    <a:pt x="347" y="330"/>
                    <a:pt x="352" y="326"/>
                    <a:pt x="352" y="320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394" y="277"/>
                  </a:moveTo>
                  <a:cubicBezTo>
                    <a:pt x="394" y="276"/>
                    <a:pt x="394" y="275"/>
                    <a:pt x="394" y="274"/>
                  </a:cubicBezTo>
                  <a:cubicBezTo>
                    <a:pt x="351" y="146"/>
                    <a:pt x="351" y="146"/>
                    <a:pt x="351" y="146"/>
                  </a:cubicBezTo>
                  <a:cubicBezTo>
                    <a:pt x="351" y="145"/>
                    <a:pt x="351" y="145"/>
                    <a:pt x="351" y="145"/>
                  </a:cubicBezTo>
                  <a:cubicBezTo>
                    <a:pt x="349" y="141"/>
                    <a:pt x="346" y="138"/>
                    <a:pt x="341" y="138"/>
                  </a:cubicBezTo>
                  <a:cubicBezTo>
                    <a:pt x="170" y="138"/>
                    <a:pt x="170" y="138"/>
                    <a:pt x="170" y="138"/>
                  </a:cubicBezTo>
                  <a:cubicBezTo>
                    <a:pt x="166" y="138"/>
                    <a:pt x="162" y="141"/>
                    <a:pt x="160" y="145"/>
                  </a:cubicBezTo>
                  <a:cubicBezTo>
                    <a:pt x="160" y="145"/>
                    <a:pt x="160" y="145"/>
                    <a:pt x="160" y="146"/>
                  </a:cubicBezTo>
                  <a:cubicBezTo>
                    <a:pt x="118" y="274"/>
                    <a:pt x="118" y="274"/>
                    <a:pt x="118" y="274"/>
                  </a:cubicBezTo>
                  <a:cubicBezTo>
                    <a:pt x="117" y="275"/>
                    <a:pt x="117" y="276"/>
                    <a:pt x="117" y="277"/>
                  </a:cubicBezTo>
                  <a:cubicBezTo>
                    <a:pt x="117" y="298"/>
                    <a:pt x="117" y="298"/>
                    <a:pt x="117" y="298"/>
                  </a:cubicBezTo>
                  <a:cubicBezTo>
                    <a:pt x="117" y="298"/>
                    <a:pt x="117" y="298"/>
                    <a:pt x="117" y="298"/>
                  </a:cubicBezTo>
                  <a:cubicBezTo>
                    <a:pt x="117" y="298"/>
                    <a:pt x="117" y="298"/>
                    <a:pt x="117" y="299"/>
                  </a:cubicBezTo>
                  <a:cubicBezTo>
                    <a:pt x="117" y="341"/>
                    <a:pt x="117" y="341"/>
                    <a:pt x="117" y="341"/>
                  </a:cubicBezTo>
                  <a:cubicBezTo>
                    <a:pt x="117" y="359"/>
                    <a:pt x="131" y="373"/>
                    <a:pt x="149" y="373"/>
                  </a:cubicBezTo>
                  <a:cubicBezTo>
                    <a:pt x="362" y="373"/>
                    <a:pt x="362" y="373"/>
                    <a:pt x="362" y="373"/>
                  </a:cubicBezTo>
                  <a:cubicBezTo>
                    <a:pt x="380" y="373"/>
                    <a:pt x="394" y="359"/>
                    <a:pt x="394" y="341"/>
                  </a:cubicBezTo>
                  <a:cubicBezTo>
                    <a:pt x="394" y="299"/>
                    <a:pt x="394" y="299"/>
                    <a:pt x="394" y="299"/>
                  </a:cubicBezTo>
                  <a:cubicBezTo>
                    <a:pt x="394" y="298"/>
                    <a:pt x="394" y="298"/>
                    <a:pt x="394" y="298"/>
                  </a:cubicBezTo>
                  <a:cubicBezTo>
                    <a:pt x="394" y="298"/>
                    <a:pt x="394" y="298"/>
                    <a:pt x="394" y="298"/>
                  </a:cubicBezTo>
                  <a:lnTo>
                    <a:pt x="394" y="277"/>
                  </a:lnTo>
                  <a:close/>
                </a:path>
              </a:pathLst>
            </a:custGeom>
            <a:solidFill>
              <a:srgbClr val="86BC2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endParaRPr>
            </a:p>
          </p:txBody>
        </p:sp>
      </p:grpSp>
      <p:cxnSp>
        <p:nvCxnSpPr>
          <p:cNvPr id="64" name="Straight Arrow Connector 63"/>
          <p:cNvCxnSpPr>
            <a:stCxn id="24" idx="0"/>
            <a:endCxn id="65" idx="2"/>
          </p:cNvCxnSpPr>
          <p:nvPr/>
        </p:nvCxnSpPr>
        <p:spPr>
          <a:xfrm flipV="1">
            <a:off x="9063865" y="5779698"/>
            <a:ext cx="0" cy="191267"/>
          </a:xfrm>
          <a:prstGeom prst="straightConnector1">
            <a:avLst/>
          </a:prstGeom>
          <a:ln>
            <a:solidFill>
              <a:schemeClr val="tx2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Shape 84"/>
          <p:cNvSpPr/>
          <p:nvPr/>
        </p:nvSpPr>
        <p:spPr>
          <a:xfrm>
            <a:off x="6363865" y="1061855"/>
            <a:ext cx="5400000" cy="4717843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 w="12700" cap="flat" cmpd="sng">
            <a:solidFill>
              <a:srgbClr val="BFBFBF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91425" tIns="45700" rIns="91425" bIns="4570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1" i="0" u="none" strike="noStrike" kern="0" cap="none" spc="0" normalizeH="0" baseline="0" noProof="0" dirty="0">
                <a:ln>
                  <a:noFill/>
                </a:ln>
                <a:solidFill>
                  <a:srgbClr val="F21302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Calibri"/>
              </a:rPr>
              <a:t>Inhibitor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Calibri"/>
              </a:rPr>
              <a:t>Highlighted below are factors that would hinder the suitability of a workload for Cloud. </a:t>
            </a:r>
          </a:p>
        </p:txBody>
      </p:sp>
      <p:grpSp>
        <p:nvGrpSpPr>
          <p:cNvPr id="17" name="Group 16"/>
          <p:cNvGrpSpPr/>
          <p:nvPr/>
        </p:nvGrpSpPr>
        <p:grpSpPr>
          <a:xfrm>
            <a:off x="6408924" y="2011367"/>
            <a:ext cx="5354942" cy="507831"/>
            <a:chOff x="6408924" y="2097630"/>
            <a:chExt cx="5354942" cy="507831"/>
          </a:xfrm>
        </p:grpSpPr>
        <p:sp>
          <p:nvSpPr>
            <p:cNvPr id="67" name="Freeform 850"/>
            <p:cNvSpPr>
              <a:spLocks noChangeAspect="1" noEditPoints="1"/>
            </p:cNvSpPr>
            <p:nvPr/>
          </p:nvSpPr>
          <p:spPr bwMode="auto">
            <a:xfrm>
              <a:off x="6408924" y="2166492"/>
              <a:ext cx="369021" cy="370106"/>
            </a:xfrm>
            <a:custGeom>
              <a:avLst/>
              <a:gdLst>
                <a:gd name="T0" fmla="*/ 181 w 512"/>
                <a:gd name="T1" fmla="*/ 384 h 512"/>
                <a:gd name="T2" fmla="*/ 170 w 512"/>
                <a:gd name="T3" fmla="*/ 394 h 512"/>
                <a:gd name="T4" fmla="*/ 160 w 512"/>
                <a:gd name="T5" fmla="*/ 384 h 512"/>
                <a:gd name="T6" fmla="*/ 170 w 512"/>
                <a:gd name="T7" fmla="*/ 373 h 512"/>
                <a:gd name="T8" fmla="*/ 181 w 512"/>
                <a:gd name="T9" fmla="*/ 384 h 512"/>
                <a:gd name="T10" fmla="*/ 256 w 512"/>
                <a:gd name="T11" fmla="*/ 373 h 512"/>
                <a:gd name="T12" fmla="*/ 245 w 512"/>
                <a:gd name="T13" fmla="*/ 384 h 512"/>
                <a:gd name="T14" fmla="*/ 256 w 512"/>
                <a:gd name="T15" fmla="*/ 394 h 512"/>
                <a:gd name="T16" fmla="*/ 266 w 512"/>
                <a:gd name="T17" fmla="*/ 384 h 512"/>
                <a:gd name="T18" fmla="*/ 256 w 512"/>
                <a:gd name="T19" fmla="*/ 373 h 512"/>
                <a:gd name="T20" fmla="*/ 256 w 512"/>
                <a:gd name="T21" fmla="*/ 117 h 512"/>
                <a:gd name="T22" fmla="*/ 245 w 512"/>
                <a:gd name="T23" fmla="*/ 128 h 512"/>
                <a:gd name="T24" fmla="*/ 256 w 512"/>
                <a:gd name="T25" fmla="*/ 138 h 512"/>
                <a:gd name="T26" fmla="*/ 266 w 512"/>
                <a:gd name="T27" fmla="*/ 128 h 512"/>
                <a:gd name="T28" fmla="*/ 256 w 512"/>
                <a:gd name="T29" fmla="*/ 117 h 512"/>
                <a:gd name="T30" fmla="*/ 341 w 512"/>
                <a:gd name="T31" fmla="*/ 373 h 512"/>
                <a:gd name="T32" fmla="*/ 330 w 512"/>
                <a:gd name="T33" fmla="*/ 384 h 512"/>
                <a:gd name="T34" fmla="*/ 341 w 512"/>
                <a:gd name="T35" fmla="*/ 394 h 512"/>
                <a:gd name="T36" fmla="*/ 352 w 512"/>
                <a:gd name="T37" fmla="*/ 384 h 512"/>
                <a:gd name="T38" fmla="*/ 341 w 512"/>
                <a:gd name="T39" fmla="*/ 373 h 512"/>
                <a:gd name="T40" fmla="*/ 512 w 512"/>
                <a:gd name="T41" fmla="*/ 256 h 512"/>
                <a:gd name="T42" fmla="*/ 256 w 512"/>
                <a:gd name="T43" fmla="*/ 512 h 512"/>
                <a:gd name="T44" fmla="*/ 0 w 512"/>
                <a:gd name="T45" fmla="*/ 256 h 512"/>
                <a:gd name="T46" fmla="*/ 256 w 512"/>
                <a:gd name="T47" fmla="*/ 0 h 512"/>
                <a:gd name="T48" fmla="*/ 512 w 512"/>
                <a:gd name="T49" fmla="*/ 256 h 512"/>
                <a:gd name="T50" fmla="*/ 373 w 512"/>
                <a:gd name="T51" fmla="*/ 384 h 512"/>
                <a:gd name="T52" fmla="*/ 352 w 512"/>
                <a:gd name="T53" fmla="*/ 354 h 512"/>
                <a:gd name="T54" fmla="*/ 352 w 512"/>
                <a:gd name="T55" fmla="*/ 277 h 512"/>
                <a:gd name="T56" fmla="*/ 320 w 512"/>
                <a:gd name="T57" fmla="*/ 245 h 512"/>
                <a:gd name="T58" fmla="*/ 266 w 512"/>
                <a:gd name="T59" fmla="*/ 245 h 512"/>
                <a:gd name="T60" fmla="*/ 266 w 512"/>
                <a:gd name="T61" fmla="*/ 158 h 512"/>
                <a:gd name="T62" fmla="*/ 288 w 512"/>
                <a:gd name="T63" fmla="*/ 128 h 512"/>
                <a:gd name="T64" fmla="*/ 256 w 512"/>
                <a:gd name="T65" fmla="*/ 96 h 512"/>
                <a:gd name="T66" fmla="*/ 224 w 512"/>
                <a:gd name="T67" fmla="*/ 128 h 512"/>
                <a:gd name="T68" fmla="*/ 245 w 512"/>
                <a:gd name="T69" fmla="*/ 158 h 512"/>
                <a:gd name="T70" fmla="*/ 245 w 512"/>
                <a:gd name="T71" fmla="*/ 245 h 512"/>
                <a:gd name="T72" fmla="*/ 192 w 512"/>
                <a:gd name="T73" fmla="*/ 245 h 512"/>
                <a:gd name="T74" fmla="*/ 160 w 512"/>
                <a:gd name="T75" fmla="*/ 277 h 512"/>
                <a:gd name="T76" fmla="*/ 160 w 512"/>
                <a:gd name="T77" fmla="*/ 354 h 512"/>
                <a:gd name="T78" fmla="*/ 138 w 512"/>
                <a:gd name="T79" fmla="*/ 384 h 512"/>
                <a:gd name="T80" fmla="*/ 170 w 512"/>
                <a:gd name="T81" fmla="*/ 416 h 512"/>
                <a:gd name="T82" fmla="*/ 202 w 512"/>
                <a:gd name="T83" fmla="*/ 384 h 512"/>
                <a:gd name="T84" fmla="*/ 181 w 512"/>
                <a:gd name="T85" fmla="*/ 354 h 512"/>
                <a:gd name="T86" fmla="*/ 181 w 512"/>
                <a:gd name="T87" fmla="*/ 277 h 512"/>
                <a:gd name="T88" fmla="*/ 192 w 512"/>
                <a:gd name="T89" fmla="*/ 266 h 512"/>
                <a:gd name="T90" fmla="*/ 245 w 512"/>
                <a:gd name="T91" fmla="*/ 266 h 512"/>
                <a:gd name="T92" fmla="*/ 245 w 512"/>
                <a:gd name="T93" fmla="*/ 354 h 512"/>
                <a:gd name="T94" fmla="*/ 224 w 512"/>
                <a:gd name="T95" fmla="*/ 384 h 512"/>
                <a:gd name="T96" fmla="*/ 256 w 512"/>
                <a:gd name="T97" fmla="*/ 416 h 512"/>
                <a:gd name="T98" fmla="*/ 288 w 512"/>
                <a:gd name="T99" fmla="*/ 384 h 512"/>
                <a:gd name="T100" fmla="*/ 266 w 512"/>
                <a:gd name="T101" fmla="*/ 354 h 512"/>
                <a:gd name="T102" fmla="*/ 266 w 512"/>
                <a:gd name="T103" fmla="*/ 266 h 512"/>
                <a:gd name="T104" fmla="*/ 320 w 512"/>
                <a:gd name="T105" fmla="*/ 266 h 512"/>
                <a:gd name="T106" fmla="*/ 330 w 512"/>
                <a:gd name="T107" fmla="*/ 277 h 512"/>
                <a:gd name="T108" fmla="*/ 330 w 512"/>
                <a:gd name="T109" fmla="*/ 354 h 512"/>
                <a:gd name="T110" fmla="*/ 309 w 512"/>
                <a:gd name="T111" fmla="*/ 384 h 512"/>
                <a:gd name="T112" fmla="*/ 341 w 512"/>
                <a:gd name="T113" fmla="*/ 416 h 512"/>
                <a:gd name="T114" fmla="*/ 373 w 512"/>
                <a:gd name="T115" fmla="*/ 384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12" h="512">
                  <a:moveTo>
                    <a:pt x="181" y="384"/>
                  </a:moveTo>
                  <a:cubicBezTo>
                    <a:pt x="181" y="390"/>
                    <a:pt x="176" y="394"/>
                    <a:pt x="170" y="394"/>
                  </a:cubicBezTo>
                  <a:cubicBezTo>
                    <a:pt x="164" y="394"/>
                    <a:pt x="160" y="390"/>
                    <a:pt x="160" y="384"/>
                  </a:cubicBezTo>
                  <a:cubicBezTo>
                    <a:pt x="160" y="378"/>
                    <a:pt x="164" y="373"/>
                    <a:pt x="170" y="373"/>
                  </a:cubicBezTo>
                  <a:cubicBezTo>
                    <a:pt x="176" y="373"/>
                    <a:pt x="181" y="378"/>
                    <a:pt x="181" y="384"/>
                  </a:cubicBezTo>
                  <a:close/>
                  <a:moveTo>
                    <a:pt x="256" y="373"/>
                  </a:moveTo>
                  <a:cubicBezTo>
                    <a:pt x="250" y="373"/>
                    <a:pt x="245" y="378"/>
                    <a:pt x="245" y="384"/>
                  </a:cubicBezTo>
                  <a:cubicBezTo>
                    <a:pt x="245" y="390"/>
                    <a:pt x="250" y="394"/>
                    <a:pt x="256" y="394"/>
                  </a:cubicBezTo>
                  <a:cubicBezTo>
                    <a:pt x="262" y="394"/>
                    <a:pt x="266" y="390"/>
                    <a:pt x="266" y="384"/>
                  </a:cubicBezTo>
                  <a:cubicBezTo>
                    <a:pt x="266" y="378"/>
                    <a:pt x="262" y="373"/>
                    <a:pt x="256" y="373"/>
                  </a:cubicBezTo>
                  <a:close/>
                  <a:moveTo>
                    <a:pt x="256" y="117"/>
                  </a:moveTo>
                  <a:cubicBezTo>
                    <a:pt x="250" y="117"/>
                    <a:pt x="245" y="122"/>
                    <a:pt x="245" y="128"/>
                  </a:cubicBezTo>
                  <a:cubicBezTo>
                    <a:pt x="245" y="134"/>
                    <a:pt x="250" y="138"/>
                    <a:pt x="256" y="138"/>
                  </a:cubicBezTo>
                  <a:cubicBezTo>
                    <a:pt x="262" y="138"/>
                    <a:pt x="266" y="134"/>
                    <a:pt x="266" y="128"/>
                  </a:cubicBezTo>
                  <a:cubicBezTo>
                    <a:pt x="266" y="122"/>
                    <a:pt x="262" y="117"/>
                    <a:pt x="256" y="117"/>
                  </a:cubicBezTo>
                  <a:close/>
                  <a:moveTo>
                    <a:pt x="341" y="373"/>
                  </a:moveTo>
                  <a:cubicBezTo>
                    <a:pt x="335" y="373"/>
                    <a:pt x="330" y="378"/>
                    <a:pt x="330" y="384"/>
                  </a:cubicBezTo>
                  <a:cubicBezTo>
                    <a:pt x="330" y="390"/>
                    <a:pt x="335" y="394"/>
                    <a:pt x="341" y="394"/>
                  </a:cubicBezTo>
                  <a:cubicBezTo>
                    <a:pt x="347" y="394"/>
                    <a:pt x="352" y="390"/>
                    <a:pt x="352" y="384"/>
                  </a:cubicBezTo>
                  <a:cubicBezTo>
                    <a:pt x="352" y="378"/>
                    <a:pt x="347" y="373"/>
                    <a:pt x="341" y="373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373" y="384"/>
                  </a:moveTo>
                  <a:cubicBezTo>
                    <a:pt x="373" y="370"/>
                    <a:pt x="364" y="358"/>
                    <a:pt x="352" y="354"/>
                  </a:cubicBezTo>
                  <a:cubicBezTo>
                    <a:pt x="352" y="277"/>
                    <a:pt x="352" y="277"/>
                    <a:pt x="352" y="277"/>
                  </a:cubicBezTo>
                  <a:cubicBezTo>
                    <a:pt x="352" y="254"/>
                    <a:pt x="333" y="245"/>
                    <a:pt x="320" y="245"/>
                  </a:cubicBezTo>
                  <a:cubicBezTo>
                    <a:pt x="266" y="245"/>
                    <a:pt x="266" y="245"/>
                    <a:pt x="266" y="245"/>
                  </a:cubicBezTo>
                  <a:cubicBezTo>
                    <a:pt x="266" y="158"/>
                    <a:pt x="266" y="158"/>
                    <a:pt x="266" y="158"/>
                  </a:cubicBezTo>
                  <a:cubicBezTo>
                    <a:pt x="279" y="153"/>
                    <a:pt x="288" y="142"/>
                    <a:pt x="288" y="128"/>
                  </a:cubicBezTo>
                  <a:cubicBezTo>
                    <a:pt x="288" y="110"/>
                    <a:pt x="273" y="96"/>
                    <a:pt x="256" y="96"/>
                  </a:cubicBezTo>
                  <a:cubicBezTo>
                    <a:pt x="238" y="96"/>
                    <a:pt x="224" y="110"/>
                    <a:pt x="224" y="128"/>
                  </a:cubicBezTo>
                  <a:cubicBezTo>
                    <a:pt x="224" y="142"/>
                    <a:pt x="233" y="153"/>
                    <a:pt x="245" y="158"/>
                  </a:cubicBezTo>
                  <a:cubicBezTo>
                    <a:pt x="245" y="245"/>
                    <a:pt x="245" y="245"/>
                    <a:pt x="245" y="245"/>
                  </a:cubicBezTo>
                  <a:cubicBezTo>
                    <a:pt x="192" y="245"/>
                    <a:pt x="192" y="245"/>
                    <a:pt x="192" y="245"/>
                  </a:cubicBezTo>
                  <a:cubicBezTo>
                    <a:pt x="169" y="245"/>
                    <a:pt x="160" y="264"/>
                    <a:pt x="160" y="277"/>
                  </a:cubicBezTo>
                  <a:cubicBezTo>
                    <a:pt x="160" y="354"/>
                    <a:pt x="160" y="354"/>
                    <a:pt x="160" y="354"/>
                  </a:cubicBezTo>
                  <a:cubicBezTo>
                    <a:pt x="147" y="358"/>
                    <a:pt x="138" y="370"/>
                    <a:pt x="138" y="384"/>
                  </a:cubicBezTo>
                  <a:cubicBezTo>
                    <a:pt x="138" y="401"/>
                    <a:pt x="153" y="416"/>
                    <a:pt x="170" y="416"/>
                  </a:cubicBezTo>
                  <a:cubicBezTo>
                    <a:pt x="188" y="416"/>
                    <a:pt x="202" y="401"/>
                    <a:pt x="202" y="384"/>
                  </a:cubicBezTo>
                  <a:cubicBezTo>
                    <a:pt x="202" y="370"/>
                    <a:pt x="193" y="358"/>
                    <a:pt x="181" y="354"/>
                  </a:cubicBezTo>
                  <a:cubicBezTo>
                    <a:pt x="181" y="277"/>
                    <a:pt x="181" y="277"/>
                    <a:pt x="181" y="277"/>
                  </a:cubicBezTo>
                  <a:cubicBezTo>
                    <a:pt x="181" y="275"/>
                    <a:pt x="182" y="266"/>
                    <a:pt x="192" y="266"/>
                  </a:cubicBezTo>
                  <a:cubicBezTo>
                    <a:pt x="245" y="266"/>
                    <a:pt x="245" y="266"/>
                    <a:pt x="245" y="266"/>
                  </a:cubicBezTo>
                  <a:cubicBezTo>
                    <a:pt x="245" y="354"/>
                    <a:pt x="245" y="354"/>
                    <a:pt x="245" y="354"/>
                  </a:cubicBezTo>
                  <a:cubicBezTo>
                    <a:pt x="233" y="358"/>
                    <a:pt x="224" y="370"/>
                    <a:pt x="224" y="384"/>
                  </a:cubicBezTo>
                  <a:cubicBezTo>
                    <a:pt x="224" y="401"/>
                    <a:pt x="238" y="416"/>
                    <a:pt x="256" y="416"/>
                  </a:cubicBezTo>
                  <a:cubicBezTo>
                    <a:pt x="273" y="416"/>
                    <a:pt x="288" y="401"/>
                    <a:pt x="288" y="384"/>
                  </a:cubicBezTo>
                  <a:cubicBezTo>
                    <a:pt x="288" y="370"/>
                    <a:pt x="279" y="358"/>
                    <a:pt x="266" y="354"/>
                  </a:cubicBezTo>
                  <a:cubicBezTo>
                    <a:pt x="266" y="266"/>
                    <a:pt x="266" y="266"/>
                    <a:pt x="266" y="266"/>
                  </a:cubicBezTo>
                  <a:cubicBezTo>
                    <a:pt x="320" y="266"/>
                    <a:pt x="320" y="266"/>
                    <a:pt x="320" y="266"/>
                  </a:cubicBezTo>
                  <a:cubicBezTo>
                    <a:pt x="324" y="266"/>
                    <a:pt x="330" y="268"/>
                    <a:pt x="330" y="277"/>
                  </a:cubicBezTo>
                  <a:cubicBezTo>
                    <a:pt x="330" y="354"/>
                    <a:pt x="330" y="354"/>
                    <a:pt x="330" y="354"/>
                  </a:cubicBezTo>
                  <a:cubicBezTo>
                    <a:pt x="318" y="358"/>
                    <a:pt x="309" y="370"/>
                    <a:pt x="309" y="384"/>
                  </a:cubicBezTo>
                  <a:cubicBezTo>
                    <a:pt x="309" y="401"/>
                    <a:pt x="323" y="416"/>
                    <a:pt x="341" y="416"/>
                  </a:cubicBezTo>
                  <a:cubicBezTo>
                    <a:pt x="359" y="416"/>
                    <a:pt x="373" y="401"/>
                    <a:pt x="373" y="384"/>
                  </a:cubicBezTo>
                  <a:close/>
                </a:path>
              </a:pathLst>
            </a:custGeom>
            <a:solidFill>
              <a:srgbClr val="F2130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68" name="Rectangle 67"/>
            <p:cNvSpPr/>
            <p:nvPr/>
          </p:nvSpPr>
          <p:spPr>
            <a:xfrm>
              <a:off x="6811460" y="2097630"/>
              <a:ext cx="4952406" cy="5078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AU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Heavily Integrated Applications </a:t>
              </a:r>
              <a:r>
                <a:rPr kumimoji="0" lang="en-AU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– Applications that are heavily integrated will continue to require a high amount of communication or dependencies with their counterparts. In this case it is recommended that they remain together, be it in the Cloud or on premise. </a:t>
              </a: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6409619" y="1544891"/>
            <a:ext cx="5354247" cy="369332"/>
            <a:chOff x="6409619" y="1544891"/>
            <a:chExt cx="5354247" cy="369332"/>
          </a:xfrm>
        </p:grpSpPr>
        <p:sp>
          <p:nvSpPr>
            <p:cNvPr id="70" name="Rectangle 69"/>
            <p:cNvSpPr/>
            <p:nvPr/>
          </p:nvSpPr>
          <p:spPr>
            <a:xfrm>
              <a:off x="6811460" y="1544891"/>
              <a:ext cx="4952406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AU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High Network Throughput Applications </a:t>
              </a:r>
              <a:r>
                <a:rPr kumimoji="0" lang="en-AU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– Applications with high throughput requirements may see performance issues and latency if they are located away from their users.</a:t>
              </a:r>
            </a:p>
          </p:txBody>
        </p:sp>
        <p:sp>
          <p:nvSpPr>
            <p:cNvPr id="71" name="Freeform 404"/>
            <p:cNvSpPr>
              <a:spLocks noChangeAspect="1" noEditPoints="1"/>
            </p:cNvSpPr>
            <p:nvPr/>
          </p:nvSpPr>
          <p:spPr bwMode="auto">
            <a:xfrm>
              <a:off x="6409619" y="1545742"/>
              <a:ext cx="367631" cy="367631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295 w 512"/>
                <a:gd name="T11" fmla="*/ 370 h 512"/>
                <a:gd name="T12" fmla="*/ 263 w 512"/>
                <a:gd name="T13" fmla="*/ 402 h 512"/>
                <a:gd name="T14" fmla="*/ 260 w 512"/>
                <a:gd name="T15" fmla="*/ 404 h 512"/>
                <a:gd name="T16" fmla="*/ 256 w 512"/>
                <a:gd name="T17" fmla="*/ 405 h 512"/>
                <a:gd name="T18" fmla="*/ 252 w 512"/>
                <a:gd name="T19" fmla="*/ 404 h 512"/>
                <a:gd name="T20" fmla="*/ 248 w 512"/>
                <a:gd name="T21" fmla="*/ 402 h 512"/>
                <a:gd name="T22" fmla="*/ 216 w 512"/>
                <a:gd name="T23" fmla="*/ 370 h 512"/>
                <a:gd name="T24" fmla="*/ 216 w 512"/>
                <a:gd name="T25" fmla="*/ 355 h 512"/>
                <a:gd name="T26" fmla="*/ 231 w 512"/>
                <a:gd name="T27" fmla="*/ 355 h 512"/>
                <a:gd name="T28" fmla="*/ 245 w 512"/>
                <a:gd name="T29" fmla="*/ 369 h 512"/>
                <a:gd name="T30" fmla="*/ 245 w 512"/>
                <a:gd name="T31" fmla="*/ 245 h 512"/>
                <a:gd name="T32" fmla="*/ 256 w 512"/>
                <a:gd name="T33" fmla="*/ 234 h 512"/>
                <a:gd name="T34" fmla="*/ 266 w 512"/>
                <a:gd name="T35" fmla="*/ 245 h 512"/>
                <a:gd name="T36" fmla="*/ 266 w 512"/>
                <a:gd name="T37" fmla="*/ 369 h 512"/>
                <a:gd name="T38" fmla="*/ 280 w 512"/>
                <a:gd name="T39" fmla="*/ 355 h 512"/>
                <a:gd name="T40" fmla="*/ 295 w 512"/>
                <a:gd name="T41" fmla="*/ 355 h 512"/>
                <a:gd name="T42" fmla="*/ 295 w 512"/>
                <a:gd name="T43" fmla="*/ 370 h 512"/>
                <a:gd name="T44" fmla="*/ 362 w 512"/>
                <a:gd name="T45" fmla="*/ 320 h 512"/>
                <a:gd name="T46" fmla="*/ 309 w 512"/>
                <a:gd name="T47" fmla="*/ 320 h 512"/>
                <a:gd name="T48" fmla="*/ 298 w 512"/>
                <a:gd name="T49" fmla="*/ 309 h 512"/>
                <a:gd name="T50" fmla="*/ 309 w 512"/>
                <a:gd name="T51" fmla="*/ 298 h 512"/>
                <a:gd name="T52" fmla="*/ 362 w 512"/>
                <a:gd name="T53" fmla="*/ 298 h 512"/>
                <a:gd name="T54" fmla="*/ 394 w 512"/>
                <a:gd name="T55" fmla="*/ 266 h 512"/>
                <a:gd name="T56" fmla="*/ 362 w 512"/>
                <a:gd name="T57" fmla="*/ 234 h 512"/>
                <a:gd name="T58" fmla="*/ 351 w 512"/>
                <a:gd name="T59" fmla="*/ 238 h 512"/>
                <a:gd name="T60" fmla="*/ 339 w 512"/>
                <a:gd name="T61" fmla="*/ 237 h 512"/>
                <a:gd name="T62" fmla="*/ 335 w 512"/>
                <a:gd name="T63" fmla="*/ 227 h 512"/>
                <a:gd name="T64" fmla="*/ 336 w 512"/>
                <a:gd name="T65" fmla="*/ 222 h 512"/>
                <a:gd name="T66" fmla="*/ 337 w 512"/>
                <a:gd name="T67" fmla="*/ 214 h 512"/>
                <a:gd name="T68" fmla="*/ 272 w 512"/>
                <a:gd name="T69" fmla="*/ 149 h 512"/>
                <a:gd name="T70" fmla="*/ 207 w 512"/>
                <a:gd name="T71" fmla="*/ 201 h 512"/>
                <a:gd name="T72" fmla="*/ 201 w 512"/>
                <a:gd name="T73" fmla="*/ 208 h 512"/>
                <a:gd name="T74" fmla="*/ 191 w 512"/>
                <a:gd name="T75" fmla="*/ 207 h 512"/>
                <a:gd name="T76" fmla="*/ 167 w 512"/>
                <a:gd name="T77" fmla="*/ 199 h 512"/>
                <a:gd name="T78" fmla="*/ 117 w 512"/>
                <a:gd name="T79" fmla="*/ 249 h 512"/>
                <a:gd name="T80" fmla="*/ 167 w 512"/>
                <a:gd name="T81" fmla="*/ 298 h 512"/>
                <a:gd name="T82" fmla="*/ 202 w 512"/>
                <a:gd name="T83" fmla="*/ 298 h 512"/>
                <a:gd name="T84" fmla="*/ 213 w 512"/>
                <a:gd name="T85" fmla="*/ 309 h 512"/>
                <a:gd name="T86" fmla="*/ 202 w 512"/>
                <a:gd name="T87" fmla="*/ 320 h 512"/>
                <a:gd name="T88" fmla="*/ 167 w 512"/>
                <a:gd name="T89" fmla="*/ 320 h 512"/>
                <a:gd name="T90" fmla="*/ 96 w 512"/>
                <a:gd name="T91" fmla="*/ 249 h 512"/>
                <a:gd name="T92" fmla="*/ 167 w 512"/>
                <a:gd name="T93" fmla="*/ 178 h 512"/>
                <a:gd name="T94" fmla="*/ 190 w 512"/>
                <a:gd name="T95" fmla="*/ 183 h 512"/>
                <a:gd name="T96" fmla="*/ 272 w 512"/>
                <a:gd name="T97" fmla="*/ 128 h 512"/>
                <a:gd name="T98" fmla="*/ 358 w 512"/>
                <a:gd name="T99" fmla="*/ 213 h 512"/>
                <a:gd name="T100" fmla="*/ 362 w 512"/>
                <a:gd name="T101" fmla="*/ 213 h 512"/>
                <a:gd name="T102" fmla="*/ 416 w 512"/>
                <a:gd name="T103" fmla="*/ 266 h 512"/>
                <a:gd name="T104" fmla="*/ 362 w 512"/>
                <a:gd name="T105" fmla="*/ 32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295" y="370"/>
                  </a:moveTo>
                  <a:cubicBezTo>
                    <a:pt x="263" y="402"/>
                    <a:pt x="263" y="402"/>
                    <a:pt x="263" y="402"/>
                  </a:cubicBezTo>
                  <a:cubicBezTo>
                    <a:pt x="262" y="403"/>
                    <a:pt x="261" y="404"/>
                    <a:pt x="260" y="404"/>
                  </a:cubicBezTo>
                  <a:cubicBezTo>
                    <a:pt x="258" y="405"/>
                    <a:pt x="257" y="405"/>
                    <a:pt x="256" y="405"/>
                  </a:cubicBezTo>
                  <a:cubicBezTo>
                    <a:pt x="254" y="405"/>
                    <a:pt x="253" y="405"/>
                    <a:pt x="252" y="404"/>
                  </a:cubicBezTo>
                  <a:cubicBezTo>
                    <a:pt x="250" y="404"/>
                    <a:pt x="249" y="403"/>
                    <a:pt x="248" y="402"/>
                  </a:cubicBezTo>
                  <a:cubicBezTo>
                    <a:pt x="216" y="370"/>
                    <a:pt x="216" y="370"/>
                    <a:pt x="216" y="370"/>
                  </a:cubicBezTo>
                  <a:cubicBezTo>
                    <a:pt x="212" y="366"/>
                    <a:pt x="212" y="359"/>
                    <a:pt x="216" y="355"/>
                  </a:cubicBezTo>
                  <a:cubicBezTo>
                    <a:pt x="220" y="351"/>
                    <a:pt x="227" y="351"/>
                    <a:pt x="231" y="355"/>
                  </a:cubicBezTo>
                  <a:cubicBezTo>
                    <a:pt x="245" y="369"/>
                    <a:pt x="245" y="369"/>
                    <a:pt x="245" y="369"/>
                  </a:cubicBezTo>
                  <a:cubicBezTo>
                    <a:pt x="245" y="245"/>
                    <a:pt x="245" y="245"/>
                    <a:pt x="245" y="245"/>
                  </a:cubicBezTo>
                  <a:cubicBezTo>
                    <a:pt x="245" y="239"/>
                    <a:pt x="250" y="234"/>
                    <a:pt x="256" y="234"/>
                  </a:cubicBezTo>
                  <a:cubicBezTo>
                    <a:pt x="262" y="234"/>
                    <a:pt x="266" y="239"/>
                    <a:pt x="266" y="245"/>
                  </a:cubicBezTo>
                  <a:cubicBezTo>
                    <a:pt x="266" y="369"/>
                    <a:pt x="266" y="369"/>
                    <a:pt x="266" y="369"/>
                  </a:cubicBezTo>
                  <a:cubicBezTo>
                    <a:pt x="280" y="355"/>
                    <a:pt x="280" y="355"/>
                    <a:pt x="280" y="355"/>
                  </a:cubicBezTo>
                  <a:cubicBezTo>
                    <a:pt x="284" y="351"/>
                    <a:pt x="291" y="351"/>
                    <a:pt x="295" y="355"/>
                  </a:cubicBezTo>
                  <a:cubicBezTo>
                    <a:pt x="299" y="359"/>
                    <a:pt x="299" y="366"/>
                    <a:pt x="295" y="370"/>
                  </a:cubicBezTo>
                  <a:close/>
                  <a:moveTo>
                    <a:pt x="362" y="320"/>
                  </a:moveTo>
                  <a:cubicBezTo>
                    <a:pt x="309" y="320"/>
                    <a:pt x="309" y="320"/>
                    <a:pt x="309" y="320"/>
                  </a:cubicBezTo>
                  <a:cubicBezTo>
                    <a:pt x="303" y="320"/>
                    <a:pt x="298" y="315"/>
                    <a:pt x="298" y="309"/>
                  </a:cubicBezTo>
                  <a:cubicBezTo>
                    <a:pt x="298" y="303"/>
                    <a:pt x="303" y="298"/>
                    <a:pt x="309" y="298"/>
                  </a:cubicBezTo>
                  <a:cubicBezTo>
                    <a:pt x="362" y="298"/>
                    <a:pt x="362" y="298"/>
                    <a:pt x="362" y="298"/>
                  </a:cubicBezTo>
                  <a:cubicBezTo>
                    <a:pt x="380" y="298"/>
                    <a:pt x="394" y="284"/>
                    <a:pt x="394" y="266"/>
                  </a:cubicBezTo>
                  <a:cubicBezTo>
                    <a:pt x="394" y="249"/>
                    <a:pt x="380" y="234"/>
                    <a:pt x="362" y="234"/>
                  </a:cubicBezTo>
                  <a:cubicBezTo>
                    <a:pt x="361" y="234"/>
                    <a:pt x="357" y="235"/>
                    <a:pt x="351" y="238"/>
                  </a:cubicBezTo>
                  <a:cubicBezTo>
                    <a:pt x="347" y="240"/>
                    <a:pt x="343" y="240"/>
                    <a:pt x="339" y="237"/>
                  </a:cubicBezTo>
                  <a:cubicBezTo>
                    <a:pt x="336" y="235"/>
                    <a:pt x="334" y="231"/>
                    <a:pt x="335" y="227"/>
                  </a:cubicBezTo>
                  <a:cubicBezTo>
                    <a:pt x="336" y="225"/>
                    <a:pt x="336" y="224"/>
                    <a:pt x="336" y="222"/>
                  </a:cubicBezTo>
                  <a:cubicBezTo>
                    <a:pt x="336" y="219"/>
                    <a:pt x="337" y="217"/>
                    <a:pt x="337" y="214"/>
                  </a:cubicBezTo>
                  <a:cubicBezTo>
                    <a:pt x="337" y="178"/>
                    <a:pt x="308" y="149"/>
                    <a:pt x="272" y="149"/>
                  </a:cubicBezTo>
                  <a:cubicBezTo>
                    <a:pt x="241" y="149"/>
                    <a:pt x="213" y="171"/>
                    <a:pt x="207" y="201"/>
                  </a:cubicBezTo>
                  <a:cubicBezTo>
                    <a:pt x="206" y="204"/>
                    <a:pt x="204" y="207"/>
                    <a:pt x="201" y="208"/>
                  </a:cubicBezTo>
                  <a:cubicBezTo>
                    <a:pt x="197" y="210"/>
                    <a:pt x="194" y="209"/>
                    <a:pt x="191" y="207"/>
                  </a:cubicBezTo>
                  <a:cubicBezTo>
                    <a:pt x="183" y="202"/>
                    <a:pt x="176" y="199"/>
                    <a:pt x="167" y="199"/>
                  </a:cubicBezTo>
                  <a:cubicBezTo>
                    <a:pt x="139" y="199"/>
                    <a:pt x="117" y="221"/>
                    <a:pt x="117" y="249"/>
                  </a:cubicBezTo>
                  <a:cubicBezTo>
                    <a:pt x="117" y="276"/>
                    <a:pt x="139" y="298"/>
                    <a:pt x="167" y="298"/>
                  </a:cubicBezTo>
                  <a:cubicBezTo>
                    <a:pt x="202" y="298"/>
                    <a:pt x="202" y="298"/>
                    <a:pt x="202" y="298"/>
                  </a:cubicBezTo>
                  <a:cubicBezTo>
                    <a:pt x="208" y="298"/>
                    <a:pt x="213" y="303"/>
                    <a:pt x="213" y="309"/>
                  </a:cubicBezTo>
                  <a:cubicBezTo>
                    <a:pt x="213" y="315"/>
                    <a:pt x="208" y="320"/>
                    <a:pt x="202" y="320"/>
                  </a:cubicBezTo>
                  <a:cubicBezTo>
                    <a:pt x="167" y="320"/>
                    <a:pt x="167" y="320"/>
                    <a:pt x="167" y="320"/>
                  </a:cubicBezTo>
                  <a:cubicBezTo>
                    <a:pt x="127" y="320"/>
                    <a:pt x="96" y="288"/>
                    <a:pt x="96" y="249"/>
                  </a:cubicBezTo>
                  <a:cubicBezTo>
                    <a:pt x="96" y="210"/>
                    <a:pt x="127" y="178"/>
                    <a:pt x="167" y="178"/>
                  </a:cubicBezTo>
                  <a:cubicBezTo>
                    <a:pt x="176" y="178"/>
                    <a:pt x="183" y="180"/>
                    <a:pt x="190" y="183"/>
                  </a:cubicBezTo>
                  <a:cubicBezTo>
                    <a:pt x="203" y="150"/>
                    <a:pt x="235" y="128"/>
                    <a:pt x="272" y="128"/>
                  </a:cubicBezTo>
                  <a:cubicBezTo>
                    <a:pt x="319" y="128"/>
                    <a:pt x="358" y="166"/>
                    <a:pt x="358" y="213"/>
                  </a:cubicBezTo>
                  <a:cubicBezTo>
                    <a:pt x="360" y="213"/>
                    <a:pt x="361" y="213"/>
                    <a:pt x="362" y="213"/>
                  </a:cubicBezTo>
                  <a:cubicBezTo>
                    <a:pt x="392" y="213"/>
                    <a:pt x="416" y="237"/>
                    <a:pt x="416" y="266"/>
                  </a:cubicBezTo>
                  <a:cubicBezTo>
                    <a:pt x="416" y="296"/>
                    <a:pt x="392" y="320"/>
                    <a:pt x="362" y="320"/>
                  </a:cubicBezTo>
                  <a:close/>
                </a:path>
              </a:pathLst>
            </a:custGeom>
            <a:solidFill>
              <a:srgbClr val="F2130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endParaRPr>
            </a:p>
          </p:txBody>
        </p:sp>
      </p:grpSp>
      <p:cxnSp>
        <p:nvCxnSpPr>
          <p:cNvPr id="84" name="Straight Connector 83"/>
          <p:cNvCxnSpPr/>
          <p:nvPr/>
        </p:nvCxnSpPr>
        <p:spPr>
          <a:xfrm>
            <a:off x="6091954" y="1061854"/>
            <a:ext cx="0" cy="5292000"/>
          </a:xfrm>
          <a:prstGeom prst="line">
            <a:avLst/>
          </a:prstGeom>
          <a:ln>
            <a:solidFill>
              <a:srgbClr val="5758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Text Placeholder 3"/>
          <p:cNvSpPr txBox="1">
            <a:spLocks/>
          </p:cNvSpPr>
          <p:nvPr/>
        </p:nvSpPr>
        <p:spPr>
          <a:xfrm>
            <a:off x="426540" y="6301164"/>
            <a:ext cx="7912597" cy="10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72000"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AU" sz="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Segoe UI Semilight" panose="020B0402040204020203" pitchFamily="34" charset="0"/>
              </a:rPr>
              <a:t>Please note, inhibitors are not part of the ideal answer,</a:t>
            </a:r>
            <a:r>
              <a:rPr kumimoji="0" lang="en-AU" sz="800" b="0" i="1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Segoe UI Semilight" panose="020B0402040204020203" pitchFamily="34" charset="0"/>
              </a:rPr>
              <a:t> and have only been included here for reference. </a:t>
            </a:r>
            <a:endParaRPr kumimoji="0" lang="en-US" sz="8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Segoe UI Semilight" panose="020B04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6514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AU" dirty="0"/>
              <a:t>Highlighted below are the applications that should be prioritised for the Cloud Proof of Concept and a brief justification as to why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Cloud Readiness Assessment – </a:t>
            </a:r>
            <a:r>
              <a:rPr lang="en-AU" dirty="0">
                <a:solidFill>
                  <a:srgbClr val="86BC25"/>
                </a:solidFill>
              </a:rPr>
              <a:t>Application Prioritisation</a:t>
            </a:r>
            <a:endParaRPr lang="en-AU" dirty="0"/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59061530"/>
              </p:ext>
            </p:extLst>
          </p:nvPr>
        </p:nvGraphicFramePr>
        <p:xfrm>
          <a:off x="426542" y="1090605"/>
          <a:ext cx="11340000" cy="14935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29398">
                  <a:extLst>
                    <a:ext uri="{9D8B030D-6E8A-4147-A177-3AD203B41FA5}">
                      <a16:colId xmlns:a16="http://schemas.microsoft.com/office/drawing/2014/main" val="3921440891"/>
                    </a:ext>
                  </a:extLst>
                </a:gridCol>
                <a:gridCol w="3165894">
                  <a:extLst>
                    <a:ext uri="{9D8B030D-6E8A-4147-A177-3AD203B41FA5}">
                      <a16:colId xmlns:a16="http://schemas.microsoft.com/office/drawing/2014/main" val="3879694011"/>
                    </a:ext>
                  </a:extLst>
                </a:gridCol>
                <a:gridCol w="7444708">
                  <a:extLst>
                    <a:ext uri="{9D8B030D-6E8A-4147-A177-3AD203B41FA5}">
                      <a16:colId xmlns:a16="http://schemas.microsoft.com/office/drawing/2014/main" val="4264438250"/>
                    </a:ext>
                  </a:extLst>
                </a:gridCol>
              </a:tblGrid>
              <a:tr h="151421">
                <a:tc>
                  <a:txBody>
                    <a:bodyPr/>
                    <a:lstStyle/>
                    <a:p>
                      <a:pPr algn="ctr"/>
                      <a:r>
                        <a:rPr lang="en-AU" sz="1200" b="1" dirty="0">
                          <a:solidFill>
                            <a:schemeClr val="bg1"/>
                          </a:solidFill>
                        </a:rPr>
                        <a:t>Priority</a:t>
                      </a:r>
                    </a:p>
                  </a:txBody>
                  <a:tcPr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53565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200" b="1" dirty="0">
                          <a:solidFill>
                            <a:schemeClr val="bg1"/>
                          </a:solidFill>
                        </a:rPr>
                        <a:t>Application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53565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200" b="1" dirty="0">
                          <a:solidFill>
                            <a:schemeClr val="bg1"/>
                          </a:solidFill>
                        </a:rPr>
                        <a:t>Justification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53565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523124"/>
                  </a:ext>
                </a:extLst>
              </a:tr>
              <a:tr h="201894">
                <a:tc>
                  <a:txBody>
                    <a:bodyPr/>
                    <a:lstStyle/>
                    <a:p>
                      <a:pPr algn="ctr"/>
                      <a:r>
                        <a:rPr lang="en-AU" sz="1000" dirty="0"/>
                        <a:t>1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000" dirty="0"/>
                        <a:t>MuleSoft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AU" sz="1000" dirty="0"/>
                        <a:t>This data integration broker is required as an application in-order to allow the other applications to work smoothly.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87092323"/>
                  </a:ext>
                </a:extLst>
              </a:tr>
              <a:tr h="201894">
                <a:tc>
                  <a:txBody>
                    <a:bodyPr/>
                    <a:lstStyle/>
                    <a:p>
                      <a:pPr algn="ctr"/>
                      <a:r>
                        <a:rPr lang="en-AU" sz="1000" dirty="0"/>
                        <a:t>2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000" dirty="0"/>
                        <a:t>Learning Management System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AU" sz="1000" dirty="0"/>
                        <a:t>An LMS Portal containing the recorded video sessions, study materials, subject’s information can be established.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94420123"/>
                  </a:ext>
                </a:extLst>
              </a:tr>
              <a:tr h="201894">
                <a:tc>
                  <a:txBody>
                    <a:bodyPr/>
                    <a:lstStyle/>
                    <a:p>
                      <a:pPr algn="ctr"/>
                      <a:r>
                        <a:rPr lang="en-AU" sz="1000" dirty="0"/>
                        <a:t>3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000" dirty="0"/>
                        <a:t>Enrolment Plus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AU" sz="1000" dirty="0"/>
                        <a:t>It helps students enrol for their courses.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67294130"/>
                  </a:ext>
                </a:extLst>
              </a:tr>
              <a:tr h="201894">
                <a:tc>
                  <a:txBody>
                    <a:bodyPr/>
                    <a:lstStyle/>
                    <a:p>
                      <a:pPr algn="ctr"/>
                      <a:r>
                        <a:rPr lang="en-AU" sz="1000" dirty="0"/>
                        <a:t>4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000" dirty="0"/>
                        <a:t>Student Feedback Survey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AU" sz="1000" dirty="0"/>
                        <a:t>An updated form of suggestions box to maintain the feedback as anonymous.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9022646"/>
                  </a:ext>
                </a:extLst>
              </a:tr>
              <a:tr h="201894">
                <a:tc>
                  <a:txBody>
                    <a:bodyPr/>
                    <a:lstStyle/>
                    <a:p>
                      <a:pPr algn="ctr"/>
                      <a:r>
                        <a:rPr lang="en-AU" sz="1000" dirty="0"/>
                        <a:t>5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000" dirty="0"/>
                        <a:t>Building Management System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AU" sz="1000" dirty="0"/>
                        <a:t>A lot can be saved by shutting down unnecessary appliances after use. It can be achieved with this application.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1310626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69868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_4_3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Open Sans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�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 - Network and Security Solutions - Wide.potx" id="{BBB8FC03-DEC5-4C7E-971D-ABE7AE675190}" vid="{44E1F9DE-26A1-427E-A0A8-34CC89E4AC29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5</TotalTime>
  <Words>329</Words>
  <Application>Microsoft Office PowerPoint</Application>
  <PresentationFormat>Widescreen</PresentationFormat>
  <Paragraphs>33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8" baseType="lpstr">
      <vt:lpstr>Arial</vt:lpstr>
      <vt:lpstr>Open Sans</vt:lpstr>
      <vt:lpstr>Segoe UI Light</vt:lpstr>
      <vt:lpstr>Verdana</vt:lpstr>
      <vt:lpstr>Deloitte_4_3_Onscreen</vt:lpstr>
      <vt:lpstr>think-cell Slide</vt:lpstr>
      <vt:lpstr>Cloud Readiness Assessment – Cloud Accelerators and Inhibitors</vt:lpstr>
      <vt:lpstr>Cloud Readiness Assessment – Application Prioritisation</vt:lpstr>
    </vt:vector>
  </TitlesOfParts>
  <Company>Deloitte Touche Tohmatsu Services,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oud Transformation Journey – The Deloitte Approach</dc:title>
  <dc:creator>lunguroiu@deloitte.com.au;hal-khudairy@deloitte.com.au;matgeorge@deloitte.com.au;dkissane@deloitte.com.au</dc:creator>
  <cp:lastModifiedBy>Venkata Sai P Bhamidipati</cp:lastModifiedBy>
  <cp:revision>26</cp:revision>
  <dcterms:created xsi:type="dcterms:W3CDTF">2019-03-31T19:26:34Z</dcterms:created>
  <dcterms:modified xsi:type="dcterms:W3CDTF">2021-03-24T09:01:27Z</dcterms:modified>
</cp:coreProperties>
</file>